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41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321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Playfair Display SemiBold" panose="020B0604020202020204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6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omments/modernComment_141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ADA648C-3ED0-4688-92A6-660797BFD44C}" authorId="{EC28B4B0-6701-2EAD-4AFD-41CFFF8EDE08}" created="2025-05-19T21:27:28.981">
    <pc:sldMkLst xmlns:pc="http://schemas.microsoft.com/office/powerpoint/2013/main/command">
      <pc:docMk/>
      <pc:sldMk cId="0" sldId="321"/>
    </pc:sldMkLst>
    <p188:txBody>
      <a:bodyPr/>
      <a:lstStyle/>
      <a:p>
        <a:r>
          <a:rPr lang="en-US"/>
          <a:t>Add logo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" name="Google Shape;1280;g2ecbd9d9bc7_0_12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81" name="Google Shape;1281;g2ecbd9d9bc7_0_12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1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3" name="Google Shape;1283;g2ecbd9d9bc7_0_1278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84" name="Google Shape;1284;g2ecbd9d9bc7_0_1278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1285" name="Google Shape;1285;g2ecbd9d9bc7_0_1278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286" name="Google Shape;1286;g2ecbd9d9bc7_0_1278"/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All Big 4 firms are present in the semiconductor audit space, with EY and KPMG seeming to have a bigger presence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87" name="Google Shape;1287;g2ecbd9d9bc7_0_1278"/>
          <p:cNvSpPr txBox="1"/>
          <p:nvPr/>
        </p:nvSpPr>
        <p:spPr>
          <a:xfrm>
            <a:off x="457201" y="1517686"/>
            <a:ext cx="19506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eloitte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rm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arvell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TSMC</a:t>
            </a:r>
            <a:endParaRPr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Winbond</a:t>
            </a:r>
            <a:endParaRPr/>
          </a:p>
          <a:p>
            <a:pPr marL="171450" marR="0" lvl="0" indent="-825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  <a:p>
            <a:pPr marL="171450" marR="0" lvl="0" indent="-825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288" name="Google Shape;1288;g2ecbd9d9bc7_0_1278"/>
          <p:cNvSpPr txBox="1"/>
          <p:nvPr/>
        </p:nvSpPr>
        <p:spPr>
          <a:xfrm>
            <a:off x="6736080" y="1517686"/>
            <a:ext cx="19506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KPMG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pplied Material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S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GlobalFoundrie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fineon</a:t>
            </a:r>
            <a:endParaRPr dirty="0"/>
          </a:p>
        </p:txBody>
      </p:sp>
      <p:sp>
        <p:nvSpPr>
          <p:cNvPr id="1289" name="Google Shape;1289;g2ecbd9d9bc7_0_1278"/>
          <p:cNvSpPr txBox="1"/>
          <p:nvPr/>
        </p:nvSpPr>
        <p:spPr>
          <a:xfrm>
            <a:off x="2283460" y="1517686"/>
            <a:ext cx="20598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EY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dvantest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nalog Device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MD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tel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ediaTek</a:t>
            </a:r>
            <a:endParaRPr dirty="0"/>
          </a:p>
        </p:txBody>
      </p:sp>
      <p:sp>
        <p:nvSpPr>
          <p:cNvPr id="1290" name="Google Shape;1290;g2ecbd9d9bc7_0_1278"/>
          <p:cNvSpPr txBox="1"/>
          <p:nvPr/>
        </p:nvSpPr>
        <p:spPr>
          <a:xfrm>
            <a:off x="4765041" y="1517686"/>
            <a:ext cx="19506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PwC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mkor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SML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Broadco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Teradyne</a:t>
            </a:r>
            <a:endParaRPr dirty="0"/>
          </a:p>
        </p:txBody>
      </p:sp>
      <p:sp>
        <p:nvSpPr>
          <p:cNvPr id="1291" name="Google Shape;1291;g2ecbd9d9bc7_0_1278"/>
          <p:cNvSpPr txBox="1"/>
          <p:nvPr/>
        </p:nvSpPr>
        <p:spPr>
          <a:xfrm>
            <a:off x="360218" y="1184564"/>
            <a:ext cx="4689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Audit </a:t>
            </a: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2"/>
                  </a:ext>
                </a:extLst>
              </a:rPr>
              <a:t>clients</a:t>
            </a: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 by firm</a:t>
            </a:r>
            <a:r>
              <a:rPr lang="en-US" sz="1400" b="0" i="0" u="none" strike="noStrike" cap="none" baseline="3000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sp>
        <p:nvSpPr>
          <p:cNvPr id="1292" name="Google Shape;1292;g2ecbd9d9bc7_0_1278"/>
          <p:cNvSpPr txBox="1"/>
          <p:nvPr/>
        </p:nvSpPr>
        <p:spPr>
          <a:xfrm>
            <a:off x="831272" y="4731327"/>
            <a:ext cx="78936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. Source: Companies’ 10k reports from latest fiscal year</a:t>
            </a:r>
            <a:endParaRPr/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1F0D9B65-A318-4071-9FE5-F32BF955418D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63</Words>
  <Application>Microsoft Office PowerPoint</Application>
  <PresentationFormat>On-screen Show (16:9)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Playfair Display SemiBold</vt:lpstr>
      <vt:lpstr>Arial</vt:lpstr>
      <vt:lpstr>Exo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28:01Z</dcterms:modified>
</cp:coreProperties>
</file>